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1853B8-88D7-43A0-A35C-0893D05D6076}" v="51" dt="2023-03-11T21:18:36.2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CE1853B8-88D7-43A0-A35C-0893D05D6076}"/>
    <pc:docChg chg="custSel modSld">
      <pc:chgData name="Roberto Gallardo" userId="49a044883f185952" providerId="LiveId" clId="{CE1853B8-88D7-43A0-A35C-0893D05D6076}" dt="2023-03-11T21:18:48.849" v="227" actId="1035"/>
      <pc:docMkLst>
        <pc:docMk/>
      </pc:docMkLst>
      <pc:sldChg chg="delSp modSp mod">
        <pc:chgData name="Roberto Gallardo" userId="49a044883f185952" providerId="LiveId" clId="{CE1853B8-88D7-43A0-A35C-0893D05D6076}" dt="2023-03-11T21:07:03.909" v="9" actId="1076"/>
        <pc:sldMkLst>
          <pc:docMk/>
          <pc:sldMk cId="1418533539" sldId="271"/>
        </pc:sldMkLst>
        <pc:graphicFrameChg chg="del mod">
          <ac:chgData name="Roberto Gallardo" userId="49a044883f185952" providerId="LiveId" clId="{CE1853B8-88D7-43A0-A35C-0893D05D6076}" dt="2023-03-11T21:06:28.083" v="2" actId="478"/>
          <ac:graphicFrameMkLst>
            <pc:docMk/>
            <pc:sldMk cId="1418533539" sldId="271"/>
            <ac:graphicFrameMk id="5" creationId="{0C36B723-9FDD-6B1D-AB25-C901112EBFC7}"/>
          </ac:graphicFrameMkLst>
        </pc:graphicFrameChg>
        <pc:picChg chg="mod">
          <ac:chgData name="Roberto Gallardo" userId="49a044883f185952" providerId="LiveId" clId="{CE1853B8-88D7-43A0-A35C-0893D05D6076}" dt="2023-03-11T21:07:03.909" v="9" actId="1076"/>
          <ac:picMkLst>
            <pc:docMk/>
            <pc:sldMk cId="1418533539" sldId="271"/>
            <ac:picMk id="7" creationId="{C49EA3A3-8B11-6E47-3CBD-17D13C7427E6}"/>
          </ac:picMkLst>
        </pc:picChg>
      </pc:sldChg>
      <pc:sldChg chg="addSp modSp mod">
        <pc:chgData name="Roberto Gallardo" userId="49a044883f185952" providerId="LiveId" clId="{CE1853B8-88D7-43A0-A35C-0893D05D6076}" dt="2023-03-11T21:15:11.138" v="67" actId="1076"/>
        <pc:sldMkLst>
          <pc:docMk/>
          <pc:sldMk cId="2124848710" sldId="281"/>
        </pc:sldMkLst>
        <pc:picChg chg="add mod">
          <ac:chgData name="Roberto Gallardo" userId="49a044883f185952" providerId="LiveId" clId="{CE1853B8-88D7-43A0-A35C-0893D05D6076}" dt="2023-03-11T21:15:11.138" v="67" actId="1076"/>
          <ac:picMkLst>
            <pc:docMk/>
            <pc:sldMk cId="2124848710" sldId="281"/>
            <ac:picMk id="6" creationId="{DA648CEA-1B08-D3D0-0A34-B2C959AC9AB5}"/>
          </ac:picMkLst>
        </pc:picChg>
      </pc:sldChg>
      <pc:sldChg chg="addSp modSp mod">
        <pc:chgData name="Roberto Gallardo" userId="49a044883f185952" providerId="LiveId" clId="{CE1853B8-88D7-43A0-A35C-0893D05D6076}" dt="2023-03-11T21:15:29.689" v="78" actId="1076"/>
        <pc:sldMkLst>
          <pc:docMk/>
          <pc:sldMk cId="2028175529" sldId="282"/>
        </pc:sldMkLst>
        <pc:picChg chg="add mod">
          <ac:chgData name="Roberto Gallardo" userId="49a044883f185952" providerId="LiveId" clId="{CE1853B8-88D7-43A0-A35C-0893D05D6076}" dt="2023-03-11T21:15:29.689" v="78" actId="1076"/>
          <ac:picMkLst>
            <pc:docMk/>
            <pc:sldMk cId="2028175529" sldId="282"/>
            <ac:picMk id="7" creationId="{F02EAC43-60B8-1DEC-9C98-812A70AFC5A5}"/>
          </ac:picMkLst>
        </pc:picChg>
      </pc:sldChg>
      <pc:sldChg chg="addSp modSp mod">
        <pc:chgData name="Roberto Gallardo" userId="49a044883f185952" providerId="LiveId" clId="{CE1853B8-88D7-43A0-A35C-0893D05D6076}" dt="2023-03-11T21:15:48.762" v="89" actId="1076"/>
        <pc:sldMkLst>
          <pc:docMk/>
          <pc:sldMk cId="1326517747" sldId="283"/>
        </pc:sldMkLst>
        <pc:picChg chg="add mod">
          <ac:chgData name="Roberto Gallardo" userId="49a044883f185952" providerId="LiveId" clId="{CE1853B8-88D7-43A0-A35C-0893D05D6076}" dt="2023-03-11T21:15:48.762" v="89" actId="1076"/>
          <ac:picMkLst>
            <pc:docMk/>
            <pc:sldMk cId="1326517747" sldId="283"/>
            <ac:picMk id="7" creationId="{DEB984A8-B602-D964-3B28-CAC37C72B3EF}"/>
          </ac:picMkLst>
        </pc:picChg>
      </pc:sldChg>
      <pc:sldChg chg="addSp modSp mod">
        <pc:chgData name="Roberto Gallardo" userId="49a044883f185952" providerId="LiveId" clId="{CE1853B8-88D7-43A0-A35C-0893D05D6076}" dt="2023-03-11T21:16:06.177" v="98" actId="1076"/>
        <pc:sldMkLst>
          <pc:docMk/>
          <pc:sldMk cId="783739251" sldId="284"/>
        </pc:sldMkLst>
        <pc:picChg chg="add mod">
          <ac:chgData name="Roberto Gallardo" userId="49a044883f185952" providerId="LiveId" clId="{CE1853B8-88D7-43A0-A35C-0893D05D6076}" dt="2023-03-11T21:16:06.177" v="98" actId="1076"/>
          <ac:picMkLst>
            <pc:docMk/>
            <pc:sldMk cId="783739251" sldId="284"/>
            <ac:picMk id="7" creationId="{12CC076F-C154-B943-9367-BA5D7901D0DF}"/>
          </ac:picMkLst>
        </pc:picChg>
      </pc:sldChg>
      <pc:sldChg chg="addSp modSp mod">
        <pc:chgData name="Roberto Gallardo" userId="49a044883f185952" providerId="LiveId" clId="{CE1853B8-88D7-43A0-A35C-0893D05D6076}" dt="2023-03-11T21:16:25.856" v="110" actId="1076"/>
        <pc:sldMkLst>
          <pc:docMk/>
          <pc:sldMk cId="1676122233" sldId="285"/>
        </pc:sldMkLst>
        <pc:picChg chg="add mod">
          <ac:chgData name="Roberto Gallardo" userId="49a044883f185952" providerId="LiveId" clId="{CE1853B8-88D7-43A0-A35C-0893D05D6076}" dt="2023-03-11T21:16:25.856" v="110" actId="1076"/>
          <ac:picMkLst>
            <pc:docMk/>
            <pc:sldMk cId="1676122233" sldId="285"/>
            <ac:picMk id="7" creationId="{19358D56-A9E7-BDE0-0337-D4A8BF1BE39E}"/>
          </ac:picMkLst>
        </pc:picChg>
      </pc:sldChg>
      <pc:sldChg chg="addSp modSp mod">
        <pc:chgData name="Roberto Gallardo" userId="49a044883f185952" providerId="LiveId" clId="{CE1853B8-88D7-43A0-A35C-0893D05D6076}" dt="2023-03-11T21:16:42.324" v="119" actId="1076"/>
        <pc:sldMkLst>
          <pc:docMk/>
          <pc:sldMk cId="3100398757" sldId="286"/>
        </pc:sldMkLst>
        <pc:picChg chg="add mod">
          <ac:chgData name="Roberto Gallardo" userId="49a044883f185952" providerId="LiveId" clId="{CE1853B8-88D7-43A0-A35C-0893D05D6076}" dt="2023-03-11T21:16:42.324" v="119" actId="1076"/>
          <ac:picMkLst>
            <pc:docMk/>
            <pc:sldMk cId="3100398757" sldId="286"/>
            <ac:picMk id="7" creationId="{3A3BC8BF-EFDE-FED0-3874-D40530AD59E6}"/>
          </ac:picMkLst>
        </pc:picChg>
      </pc:sldChg>
      <pc:sldChg chg="addSp modSp mod">
        <pc:chgData name="Roberto Gallardo" userId="49a044883f185952" providerId="LiveId" clId="{CE1853B8-88D7-43A0-A35C-0893D05D6076}" dt="2023-03-11T21:17:02.132" v="132" actId="1076"/>
        <pc:sldMkLst>
          <pc:docMk/>
          <pc:sldMk cId="1546475425" sldId="287"/>
        </pc:sldMkLst>
        <pc:picChg chg="add mod">
          <ac:chgData name="Roberto Gallardo" userId="49a044883f185952" providerId="LiveId" clId="{CE1853B8-88D7-43A0-A35C-0893D05D6076}" dt="2023-03-11T21:17:02.132" v="132" actId="1076"/>
          <ac:picMkLst>
            <pc:docMk/>
            <pc:sldMk cId="1546475425" sldId="287"/>
            <ac:picMk id="7" creationId="{D48D2390-DF0A-9D93-FED1-7673BC554747}"/>
          </ac:picMkLst>
        </pc:picChg>
      </pc:sldChg>
      <pc:sldChg chg="addSp modSp mod">
        <pc:chgData name="Roberto Gallardo" userId="49a044883f185952" providerId="LiveId" clId="{CE1853B8-88D7-43A0-A35C-0893D05D6076}" dt="2023-03-11T21:17:35.350" v="151" actId="1076"/>
        <pc:sldMkLst>
          <pc:docMk/>
          <pc:sldMk cId="1380517306" sldId="288"/>
        </pc:sldMkLst>
        <pc:picChg chg="add mod">
          <ac:chgData name="Roberto Gallardo" userId="49a044883f185952" providerId="LiveId" clId="{CE1853B8-88D7-43A0-A35C-0893D05D6076}" dt="2023-03-11T21:17:35.350" v="151" actId="1076"/>
          <ac:picMkLst>
            <pc:docMk/>
            <pc:sldMk cId="1380517306" sldId="288"/>
            <ac:picMk id="7" creationId="{E387608B-542D-2C84-1C82-6109F22DAC72}"/>
          </ac:picMkLst>
        </pc:picChg>
      </pc:sldChg>
      <pc:sldChg chg="addSp modSp mod">
        <pc:chgData name="Roberto Gallardo" userId="49a044883f185952" providerId="LiveId" clId="{CE1853B8-88D7-43A0-A35C-0893D05D6076}" dt="2023-03-11T21:17:55.133" v="164" actId="1076"/>
        <pc:sldMkLst>
          <pc:docMk/>
          <pc:sldMk cId="1388671151" sldId="289"/>
        </pc:sldMkLst>
        <pc:picChg chg="add mod">
          <ac:chgData name="Roberto Gallardo" userId="49a044883f185952" providerId="LiveId" clId="{CE1853B8-88D7-43A0-A35C-0893D05D6076}" dt="2023-03-11T21:17:55.133" v="164" actId="1076"/>
          <ac:picMkLst>
            <pc:docMk/>
            <pc:sldMk cId="1388671151" sldId="289"/>
            <ac:picMk id="7" creationId="{1EC44B52-2DA6-2839-6A57-5D7F6E31CDAA}"/>
          </ac:picMkLst>
        </pc:picChg>
      </pc:sldChg>
      <pc:sldChg chg="addSp modSp mod">
        <pc:chgData name="Roberto Gallardo" userId="49a044883f185952" providerId="LiveId" clId="{CE1853B8-88D7-43A0-A35C-0893D05D6076}" dt="2023-03-11T21:18:28.874" v="209" actId="1035"/>
        <pc:sldMkLst>
          <pc:docMk/>
          <pc:sldMk cId="2355376039" sldId="290"/>
        </pc:sldMkLst>
        <pc:picChg chg="add mod">
          <ac:chgData name="Roberto Gallardo" userId="49a044883f185952" providerId="LiveId" clId="{CE1853B8-88D7-43A0-A35C-0893D05D6076}" dt="2023-03-11T21:18:28.874" v="209" actId="1035"/>
          <ac:picMkLst>
            <pc:docMk/>
            <pc:sldMk cId="2355376039" sldId="290"/>
            <ac:picMk id="8" creationId="{BAFAD8D9-A067-A289-C3C8-D3C6D1C7CEF1}"/>
          </ac:picMkLst>
        </pc:picChg>
      </pc:sldChg>
      <pc:sldChg chg="addSp modSp mod">
        <pc:chgData name="Roberto Gallardo" userId="49a044883f185952" providerId="LiveId" clId="{CE1853B8-88D7-43A0-A35C-0893D05D6076}" dt="2023-03-11T21:18:48.849" v="227" actId="1035"/>
        <pc:sldMkLst>
          <pc:docMk/>
          <pc:sldMk cId="3757257295" sldId="291"/>
        </pc:sldMkLst>
        <pc:picChg chg="add mod">
          <ac:chgData name="Roberto Gallardo" userId="49a044883f185952" providerId="LiveId" clId="{CE1853B8-88D7-43A0-A35C-0893D05D6076}" dt="2023-03-11T21:18:48.849" v="227" actId="1035"/>
          <ac:picMkLst>
            <pc:docMk/>
            <pc:sldMk cId="3757257295" sldId="291"/>
            <ac:picMk id="8" creationId="{8E1282D4-3759-85A1-A641-ED9F0CB6B772}"/>
          </ac:picMkLst>
        </pc:picChg>
      </pc:sldChg>
      <pc:sldChg chg="addSp modSp mod">
        <pc:chgData name="Roberto Gallardo" userId="49a044883f185952" providerId="LiveId" clId="{CE1853B8-88D7-43A0-A35C-0893D05D6076}" dt="2023-03-11T21:17:18.998" v="143" actId="1076"/>
        <pc:sldMkLst>
          <pc:docMk/>
          <pc:sldMk cId="1259856727" sldId="292"/>
        </pc:sldMkLst>
        <pc:picChg chg="add mod">
          <ac:chgData name="Roberto Gallardo" userId="49a044883f185952" providerId="LiveId" clId="{CE1853B8-88D7-43A0-A35C-0893D05D6076}" dt="2023-03-11T21:17:18.998" v="143" actId="1076"/>
          <ac:picMkLst>
            <pc:docMk/>
            <pc:sldMk cId="1259856727" sldId="292"/>
            <ac:picMk id="7" creationId="{E1F0847E-90AE-2C6E-F0EC-43373C26F797}"/>
          </ac:picMkLst>
        </pc:picChg>
      </pc:sldChg>
      <pc:sldChg chg="addSp modSp mod">
        <pc:chgData name="Roberto Gallardo" userId="49a044883f185952" providerId="LiveId" clId="{CE1853B8-88D7-43A0-A35C-0893D05D6076}" dt="2023-03-11T21:14:47.524" v="54" actId="1076"/>
        <pc:sldMkLst>
          <pc:docMk/>
          <pc:sldMk cId="3324519687" sldId="293"/>
        </pc:sldMkLst>
        <pc:picChg chg="add mod">
          <ac:chgData name="Roberto Gallardo" userId="49a044883f185952" providerId="LiveId" clId="{CE1853B8-88D7-43A0-A35C-0893D05D6076}" dt="2023-03-11T21:14:47.524" v="54" actId="1076"/>
          <ac:picMkLst>
            <pc:docMk/>
            <pc:sldMk cId="3324519687" sldId="293"/>
            <ac:picMk id="7" creationId="{75C131DF-2583-8D93-85E7-0CD0E3B2502D}"/>
          </ac:picMkLst>
        </pc:picChg>
      </pc:sldChg>
      <pc:sldChg chg="addSp modSp mod">
        <pc:chgData name="Roberto Gallardo" userId="49a044883f185952" providerId="LiveId" clId="{CE1853B8-88D7-43A0-A35C-0893D05D6076}" dt="2023-03-11T21:08:24.457" v="32" actId="1038"/>
        <pc:sldMkLst>
          <pc:docMk/>
          <pc:sldMk cId="3256182630" sldId="295"/>
        </pc:sldMkLst>
        <pc:picChg chg="add mod">
          <ac:chgData name="Roberto Gallardo" userId="49a044883f185952" providerId="LiveId" clId="{CE1853B8-88D7-43A0-A35C-0893D05D6076}" dt="2023-03-11T21:08:24.457" v="32" actId="1038"/>
          <ac:picMkLst>
            <pc:docMk/>
            <pc:sldMk cId="3256182630" sldId="295"/>
            <ac:picMk id="7" creationId="{9C9EEA43-CC44-45A2-C9CD-F19AC9675172}"/>
          </ac:picMkLst>
        </pc:picChg>
      </pc:sldChg>
      <pc:sldChg chg="addSp modSp mod">
        <pc:chgData name="Roberto Gallardo" userId="49a044883f185952" providerId="LiveId" clId="{CE1853B8-88D7-43A0-A35C-0893D05D6076}" dt="2023-03-11T21:08:47.442" v="44" actId="1076"/>
        <pc:sldMkLst>
          <pc:docMk/>
          <pc:sldMk cId="4057156843" sldId="296"/>
        </pc:sldMkLst>
        <pc:picChg chg="add mod">
          <ac:chgData name="Roberto Gallardo" userId="49a044883f185952" providerId="LiveId" clId="{CE1853B8-88D7-43A0-A35C-0893D05D6076}" dt="2023-03-11T21:08:47.442" v="44" actId="1076"/>
          <ac:picMkLst>
            <pc:docMk/>
            <pc:sldMk cId="4057156843" sldId="296"/>
            <ac:picMk id="7" creationId="{2856F061-36AC-0FFA-54A8-5BD60284D9D7}"/>
          </ac:picMkLst>
        </pc:picChg>
      </pc:sldChg>
      <pc:sldChg chg="addSp modSp mod">
        <pc:chgData name="Roberto Gallardo" userId="49a044883f185952" providerId="LiveId" clId="{CE1853B8-88D7-43A0-A35C-0893D05D6076}" dt="2023-03-11T21:08:00.262" v="23" actId="1076"/>
        <pc:sldMkLst>
          <pc:docMk/>
          <pc:sldMk cId="2080110827" sldId="297"/>
        </pc:sldMkLst>
        <pc:picChg chg="add mod">
          <ac:chgData name="Roberto Gallardo" userId="49a044883f185952" providerId="LiveId" clId="{CE1853B8-88D7-43A0-A35C-0893D05D6076}" dt="2023-03-11T21:08:00.262" v="23" actId="1076"/>
          <ac:picMkLst>
            <pc:docMk/>
            <pc:sldMk cId="2080110827" sldId="297"/>
            <ac:picMk id="6" creationId="{E9F75A54-1F65-3C72-8FD5-3BBB7179A1D1}"/>
          </ac:picMkLst>
        </pc:picChg>
      </pc:sldChg>
      <pc:sldChg chg="addSp modSp mod">
        <pc:chgData name="Roberto Gallardo" userId="49a044883f185952" providerId="LiveId" clId="{CE1853B8-88D7-43A0-A35C-0893D05D6076}" dt="2023-03-11T21:07:38.734" v="16" actId="1076"/>
        <pc:sldMkLst>
          <pc:docMk/>
          <pc:sldMk cId="1532666867" sldId="298"/>
        </pc:sldMkLst>
        <pc:picChg chg="add mod">
          <ac:chgData name="Roberto Gallardo" userId="49a044883f185952" providerId="LiveId" clId="{CE1853B8-88D7-43A0-A35C-0893D05D6076}" dt="2023-03-11T21:07:38.734" v="16" actId="1076"/>
          <ac:picMkLst>
            <pc:docMk/>
            <pc:sldMk cId="1532666867" sldId="298"/>
            <ac:picMk id="6" creationId="{E90D2C07-7E4C-9E65-EF07-F31C09875C78}"/>
          </ac:picMkLst>
        </pc:picChg>
      </pc:sldChg>
      <pc:sldChg chg="addSp modSp mod">
        <pc:chgData name="Roberto Gallardo" userId="49a044883f185952" providerId="LiveId" clId="{CE1853B8-88D7-43A0-A35C-0893D05D6076}" dt="2023-03-11T21:18:12.032" v="187" actId="1035"/>
        <pc:sldMkLst>
          <pc:docMk/>
          <pc:sldMk cId="1951376777" sldId="299"/>
        </pc:sldMkLst>
        <pc:picChg chg="add mod">
          <ac:chgData name="Roberto Gallardo" userId="49a044883f185952" providerId="LiveId" clId="{CE1853B8-88D7-43A0-A35C-0893D05D6076}" dt="2023-03-11T21:18:12.032" v="187" actId="1035"/>
          <ac:picMkLst>
            <pc:docMk/>
            <pc:sldMk cId="1951376777" sldId="299"/>
            <ac:picMk id="7" creationId="{DB2F7C5E-7D8D-0A77-CF92-967F68BEDF74}"/>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Beaufort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29A9AF6-1A5B-B0FD-4993-563B69436098}"/>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E619F8AD-F134-889A-B132-050E3A351434}"/>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7" name="Picture 6" descr="Map&#10;&#10;Description automatically generated">
            <a:extLst>
              <a:ext uri="{FF2B5EF4-FFF2-40B4-BE49-F238E27FC236}">
                <a16:creationId xmlns:a16="http://schemas.microsoft.com/office/drawing/2014/main" id="{C49EA3A3-8B11-6E47-3CBD-17D13C7427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90D2C07-7E4C-9E65-EF07-F31C09875C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32689"/>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9F75A54-1F65-3C72-8FD5-3BBB7179A1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7C40E43-CD4F-BC68-0BCB-29F70595B56D}"/>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9C9EEA43-CC44-45A2-C9CD-F19AC96751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4334" y="1413929"/>
            <a:ext cx="6403975" cy="4528617"/>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09C7D943-3547-83A8-A945-6E3BD847D646}"/>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Schematic, map&#10;&#10;Description automatically generated">
            <a:extLst>
              <a:ext uri="{FF2B5EF4-FFF2-40B4-BE49-F238E27FC236}">
                <a16:creationId xmlns:a16="http://schemas.microsoft.com/office/drawing/2014/main" id="{2856F061-36AC-0FFA-54A8-5BD60284D9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3464"/>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10BBF028-FBA3-A66D-E8B1-D779E6F3908F}"/>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75C131DF-2583-8D93-85E7-0CD0E3B250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A5240E3-364B-3194-8634-65F06BA4A30D}"/>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 schematic&#10;&#10;Description automatically generated">
            <a:extLst>
              <a:ext uri="{FF2B5EF4-FFF2-40B4-BE49-F238E27FC236}">
                <a16:creationId xmlns:a16="http://schemas.microsoft.com/office/drawing/2014/main" id="{DA648CEA-1B08-D3D0-0A34-B2C959AC9A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670"/>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C8E4FA9E-1DA0-9175-EC0F-0BDD04223057}"/>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Schematic, map&#10;&#10;Description automatically generated">
            <a:extLst>
              <a:ext uri="{FF2B5EF4-FFF2-40B4-BE49-F238E27FC236}">
                <a16:creationId xmlns:a16="http://schemas.microsoft.com/office/drawing/2014/main" id="{F02EAC43-60B8-1DEC-9C98-812A70AFC5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562" y="141346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807EBC57-0BF8-A173-A75E-FC254B968A7C}"/>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 map&#10;&#10;Description automatically generated">
            <a:extLst>
              <a:ext uri="{FF2B5EF4-FFF2-40B4-BE49-F238E27FC236}">
                <a16:creationId xmlns:a16="http://schemas.microsoft.com/office/drawing/2014/main" id="{DEB984A8-B602-D964-3B28-CAC37C72B3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26" y="1401631"/>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15B6DA4F-237A-A34C-291B-65CB53AD912F}"/>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12CC076F-C154-B943-9367-BA5D7901D0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5917"/>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7E1A52A2-5746-6A9C-3BAF-4A1266E9DE46}"/>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with medium confidence">
            <a:extLst>
              <a:ext uri="{FF2B5EF4-FFF2-40B4-BE49-F238E27FC236}">
                <a16:creationId xmlns:a16="http://schemas.microsoft.com/office/drawing/2014/main" id="{19358D56-A9E7-BDE0-0337-D4A8BF1BE3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3927" y="1406978"/>
            <a:ext cx="6405673" cy="452981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4EE8B70D-5100-B000-1EEC-F5FFDA75E6AB}"/>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A3BC8BF-EFDE-FED0-3874-D40530AD59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753"/>
            <a:ext cx="6410326" cy="4533109"/>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213CB263-46A7-B59E-8F88-F7FD21648C14}"/>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48D2390-DF0A-9D93-FED1-7673BC5547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C99B23C3-B3F4-1C6C-F88B-4296157537A8}"/>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1F0847E-90AE-2C6E-F0EC-43373C26F7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118" y="1407238"/>
            <a:ext cx="6399482" cy="452544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98F98F78-EF7D-0EEE-20B8-AAB02035225A}"/>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with medium confidence">
            <a:extLst>
              <a:ext uri="{FF2B5EF4-FFF2-40B4-BE49-F238E27FC236}">
                <a16:creationId xmlns:a16="http://schemas.microsoft.com/office/drawing/2014/main" id="{E387608B-542D-2C84-1C82-6109F22DAC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9522"/>
            <a:ext cx="6377836" cy="451013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B1CEA05E-F4B9-BCBA-1175-A64260E43463}"/>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 map&#10;&#10;Description automatically generated">
            <a:extLst>
              <a:ext uri="{FF2B5EF4-FFF2-40B4-BE49-F238E27FC236}">
                <a16:creationId xmlns:a16="http://schemas.microsoft.com/office/drawing/2014/main" id="{1EC44B52-2DA6-2839-6A57-5D7F6E31CD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1"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B46FDFC2-7146-3962-0C03-4F1117F4398A}"/>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schematic&#10;&#10;Description automatically generated">
            <a:extLst>
              <a:ext uri="{FF2B5EF4-FFF2-40B4-BE49-F238E27FC236}">
                <a16:creationId xmlns:a16="http://schemas.microsoft.com/office/drawing/2014/main" id="{DB2F7C5E-7D8D-0A77-CF92-967F68BEDF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577"/>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4DC7D75D-68CA-E04A-2518-2BB9F0998EE6}"/>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 schematic&#10;&#10;Description automatically generated">
            <a:extLst>
              <a:ext uri="{FF2B5EF4-FFF2-40B4-BE49-F238E27FC236}">
                <a16:creationId xmlns:a16="http://schemas.microsoft.com/office/drawing/2014/main" id="{BAFAD8D9-A067-A289-C3C8-D3C6D1C7CE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7213"/>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4801B9AD-EEC8-9C7E-9320-518842A279C9}"/>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D797F8C7-BDAE-001E-E1FF-99B23631F2FE}"/>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 schematic, map&#10;&#10;Description automatically generated">
            <a:extLst>
              <a:ext uri="{FF2B5EF4-FFF2-40B4-BE49-F238E27FC236}">
                <a16:creationId xmlns:a16="http://schemas.microsoft.com/office/drawing/2014/main" id="{8E1282D4-3759-85A1-A641-ED9F0CB6B7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4011"/>
            <a:ext cx="6400801" cy="4526373"/>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5BBC5CC3-6698-EDAB-1805-8B6FA7A43907}"/>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E73D579-CC9E-DA1E-8370-F59BA2E47C1C}"/>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CF670D-D5C5-7373-D971-44A5571D08BD}"/>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26213" y="2755520"/>
            <a:ext cx="1198148" cy="1954348"/>
            <a:chOff x="10485745" y="3075301"/>
            <a:chExt cx="1198148" cy="195434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57588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6</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502964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307530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075301"/>
              <a:ext cx="0" cy="50058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468436"/>
              <a:ext cx="0" cy="56121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76257" y="2099727"/>
            <a:ext cx="1198148" cy="2471044"/>
            <a:chOff x="2775759" y="2073763"/>
            <a:chExt cx="1198148" cy="2471044"/>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7376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73763"/>
              <a:ext cx="0" cy="80314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2D9D378D-CA0D-ED78-0CB9-81FEF4B7C2E2}"/>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29FE842A-2ADD-D56E-ED1F-6C18585298BF}"/>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48A5103-6EC8-53AB-6D44-F4E01374B249}"/>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79EF0C32-9697-1A4C-1711-8B7FF2F0F12A}"/>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8602A1A5-CF08-B247-4C88-AA2BDD26398D}"/>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7217E4D9-2014-5DA7-5EEF-D5396EC25AE3}"/>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175EDCB1-05A4-6AE2-70D3-42CAE22508AC}"/>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0B23792B-118D-2FF1-6194-99EC0151AACE}"/>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78</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41</cp:revision>
  <dcterms:created xsi:type="dcterms:W3CDTF">2022-07-04T13:32:28Z</dcterms:created>
  <dcterms:modified xsi:type="dcterms:W3CDTF">2023-03-11T21:18:55Z</dcterms:modified>
</cp:coreProperties>
</file>